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  <p:sldMasterId id="2147483774" r:id="rId2"/>
  </p:sldMasterIdLst>
  <p:sldIdLst>
    <p:sldId id="256" r:id="rId3"/>
    <p:sldId id="257" r:id="rId4"/>
    <p:sldId id="258" r:id="rId5"/>
    <p:sldId id="259" r:id="rId6"/>
    <p:sldId id="260" r:id="rId7"/>
    <p:sldId id="261" r:id="rId8"/>
  </p:sldIdLst>
  <p:sldSz cx="12192000" cy="6858000"/>
  <p:notesSz cx="6858000" cy="9144000"/>
  <p:custDataLst>
    <p:tags r:id="rId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3%20-%20Annual%20internal%20review%20meeting\Klubok\k&#233;rd&#337;&#237;v_eredm&#233;nyek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3%20-%20Annual%20internal%20review%20meeting\Klubok\k&#233;rd&#337;&#237;v_eredm&#233;nyek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3%20-%20Annual%20internal%20review%20meeting\Klubok\k&#233;rd&#337;&#237;v_eredm&#233;nyek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3%20-%20Annual%20internal%20review%20meeting\Klubok\k&#233;rd&#337;&#237;v_eredm&#233;nyek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>
                <a:effectLst/>
              </a:rPr>
              <a:t>1-5-ig skálakérdések átlaga a </a:t>
            </a:r>
            <a:r>
              <a:rPr lang="hu-HU" sz="1800" b="1" i="0" baseline="0">
                <a:effectLst/>
              </a:rPr>
              <a:t>licenckérelmezők</a:t>
            </a:r>
            <a:r>
              <a:rPr lang="en-US" sz="1800" b="1" i="0" baseline="0">
                <a:effectLst/>
              </a:rPr>
              <a:t> véleménye alapján</a:t>
            </a:r>
            <a:endParaRPr lang="hu-HU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stacked"/>
        <c:varyColors val="0"/>
        <c:ser>
          <c:idx val="17"/>
          <c:order val="17"/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Munka1!$A$2:$A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2</c:v>
                </c:pt>
              </c:numCache>
            </c:numRef>
          </c:cat>
          <c:val>
            <c:numRef>
              <c:f>Munka1!$AB$2:$AB$10</c:f>
              <c:numCache>
                <c:formatCode>0.00</c:formatCode>
                <c:ptCount val="9"/>
                <c:pt idx="0">
                  <c:v>5</c:v>
                </c:pt>
                <c:pt idx="1">
                  <c:v>4.95</c:v>
                </c:pt>
                <c:pt idx="2">
                  <c:v>5</c:v>
                </c:pt>
                <c:pt idx="3">
                  <c:v>4.95</c:v>
                </c:pt>
                <c:pt idx="4">
                  <c:v>4.6500000000000004</c:v>
                </c:pt>
                <c:pt idx="5">
                  <c:v>4.95</c:v>
                </c:pt>
                <c:pt idx="6">
                  <c:v>5</c:v>
                </c:pt>
                <c:pt idx="7">
                  <c:v>4.95</c:v>
                </c:pt>
                <c:pt idx="8">
                  <c:v>4.6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C0-40D6-ADF6-03B8835188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710835216"/>
        <c:axId val="71083425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ACC0-40D6-ADF6-03B8835188C8}"/>
                  </c:ext>
                </c:extLst>
              </c15:ser>
            </c15:filteredBarSeries>
            <c15:filteredBarSeries>
              <c15:ser>
                <c:idx val="1"/>
                <c:order val="1"/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B$2:$B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3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ACC0-40D6-ADF6-03B8835188C8}"/>
                  </c:ext>
                </c:extLst>
              </c15:ser>
            </c15:filteredBarSeries>
            <c15:filteredBarSeries>
              <c15:ser>
                <c:idx val="2"/>
                <c:order val="2"/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C$2:$C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4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ACC0-40D6-ADF6-03B8835188C8}"/>
                  </c:ext>
                </c:extLst>
              </c15:ser>
            </c15:filteredBarSeries>
            <c15:filteredBarSeries>
              <c15:ser>
                <c:idx val="3"/>
                <c:order val="3"/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D$2:$D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CC0-40D6-ADF6-03B8835188C8}"/>
                  </c:ext>
                </c:extLst>
              </c15:ser>
            </c15:filteredBarSeries>
            <c15:filteredBarSeries>
              <c15:ser>
                <c:idx val="4"/>
                <c:order val="4"/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E$2:$E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CC0-40D6-ADF6-03B8835188C8}"/>
                  </c:ext>
                </c:extLst>
              </c15:ser>
            </c15:filteredBarSeries>
            <c15:filteredBarSeries>
              <c15:ser>
                <c:idx val="5"/>
                <c:order val="5"/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F$2:$F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4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CC0-40D6-ADF6-03B8835188C8}"/>
                  </c:ext>
                </c:extLst>
              </c15:ser>
            </c15:filteredBarSeries>
            <c15:filteredBarSeries>
              <c15:ser>
                <c:idx val="6"/>
                <c:order val="6"/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G$2:$G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CC0-40D6-ADF6-03B8835188C8}"/>
                  </c:ext>
                </c:extLst>
              </c15:ser>
            </c15:filteredBarSeries>
            <c15:filteredBarSeries>
              <c15:ser>
                <c:idx val="7"/>
                <c:order val="7"/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H$2:$H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CC0-40D6-ADF6-03B8835188C8}"/>
                  </c:ext>
                </c:extLst>
              </c15:ser>
            </c15:filteredBarSeries>
            <c15:filteredBarSeries>
              <c15:ser>
                <c:idx val="8"/>
                <c:order val="8"/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I$2:$I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4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ACC0-40D6-ADF6-03B8835188C8}"/>
                  </c:ext>
                </c:extLst>
              </c15:ser>
            </c15:filteredBarSeries>
            <c15:filteredBarSeries>
              <c15:ser>
                <c:idx val="9"/>
                <c:order val="9"/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J$2:$J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ACC0-40D6-ADF6-03B8835188C8}"/>
                  </c:ext>
                </c:extLst>
              </c15:ser>
            </c15:filteredBarSeries>
            <c15:filteredBarSeries>
              <c15:ser>
                <c:idx val="10"/>
                <c:order val="10"/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K$2:$K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ACC0-40D6-ADF6-03B8835188C8}"/>
                  </c:ext>
                </c:extLst>
              </c15:ser>
            </c15:filteredBarSeries>
            <c15:filteredBarSeries>
              <c15:ser>
                <c:idx val="11"/>
                <c:order val="11"/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L$2:$L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ACC0-40D6-ADF6-03B8835188C8}"/>
                  </c:ext>
                </c:extLst>
              </c15:ser>
            </c15:filteredBarSeries>
            <c15:filteredBarSeries>
              <c15:ser>
                <c:idx val="12"/>
                <c:order val="12"/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M$2:$M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ACC0-40D6-ADF6-03B8835188C8}"/>
                  </c:ext>
                </c:extLst>
              </c15:ser>
            </c15:filteredBarSeries>
            <c15:filteredBarSeries>
              <c15:ser>
                <c:idx val="13"/>
                <c:order val="13"/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N$2:$N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ACC0-40D6-ADF6-03B8835188C8}"/>
                  </c:ext>
                </c:extLst>
              </c15:ser>
            </c15:filteredBarSeries>
            <c15:filteredBarSeries>
              <c15:ser>
                <c:idx val="14"/>
                <c:order val="14"/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O$2:$O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4</c:v>
                      </c:pt>
                      <c:pt idx="2">
                        <c:v>5</c:v>
                      </c:pt>
                      <c:pt idx="3">
                        <c:v>4</c:v>
                      </c:pt>
                      <c:pt idx="4">
                        <c:v>5</c:v>
                      </c:pt>
                      <c:pt idx="5">
                        <c:v>4</c:v>
                      </c:pt>
                      <c:pt idx="6">
                        <c:v>5</c:v>
                      </c:pt>
                      <c:pt idx="7">
                        <c:v>4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ACC0-40D6-ADF6-03B8835188C8}"/>
                  </c:ext>
                </c:extLst>
              </c15:ser>
            </c15:filteredBarSeries>
            <c15:filteredBarSeries>
              <c15:ser>
                <c:idx val="15"/>
                <c:order val="15"/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P$2:$P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5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ACC0-40D6-ADF6-03B8835188C8}"/>
                  </c:ext>
                </c:extLst>
              </c15:ser>
            </c15:filteredBarSeries>
            <c15:filteredBarSeries>
              <c15:ser>
                <c:idx val="16"/>
                <c:order val="16"/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7</c:v>
                      </c:pt>
                      <c:pt idx="6">
                        <c:v>8</c:v>
                      </c:pt>
                      <c:pt idx="7">
                        <c:v>9</c:v>
                      </c:pt>
                      <c:pt idx="8">
                        <c:v>1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Q$2:$Q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5</c:v>
                      </c:pt>
                      <c:pt idx="1">
                        <c:v>5</c:v>
                      </c:pt>
                      <c:pt idx="2">
                        <c:v>5</c:v>
                      </c:pt>
                      <c:pt idx="3">
                        <c:v>5</c:v>
                      </c:pt>
                      <c:pt idx="4">
                        <c:v>4</c:v>
                      </c:pt>
                      <c:pt idx="5">
                        <c:v>5</c:v>
                      </c:pt>
                      <c:pt idx="6">
                        <c:v>5</c:v>
                      </c:pt>
                      <c:pt idx="7">
                        <c:v>5</c:v>
                      </c:pt>
                      <c:pt idx="8">
                        <c:v>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ACC0-40D6-ADF6-03B8835188C8}"/>
                  </c:ext>
                </c:extLst>
              </c15:ser>
            </c15:filteredBarSeries>
          </c:ext>
        </c:extLst>
      </c:barChart>
      <c:catAx>
        <c:axId val="710835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710834256"/>
        <c:crosses val="autoZero"/>
        <c:auto val="1"/>
        <c:lblAlgn val="ctr"/>
        <c:lblOffset val="100"/>
        <c:noMultiLvlLbl val="0"/>
      </c:catAx>
      <c:valAx>
        <c:axId val="710834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710835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baseline="0">
                <a:effectLst/>
              </a:rPr>
              <a:t>A legkönnyebben teljesíthető kritérium</a:t>
            </a:r>
            <a:r>
              <a:rPr lang="hu-HU" sz="1600" b="1" i="0" baseline="0">
                <a:effectLst/>
              </a:rPr>
              <a:t>ok</a:t>
            </a:r>
            <a:endParaRPr lang="hu-HU" sz="16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33997462962962965"/>
          <c:y val="0.23726265432098764"/>
          <c:w val="0.36943962962962967"/>
          <c:h val="0.61573271604938273"/>
        </c:manualLayout>
      </c:layout>
      <c:pieChart>
        <c:varyColors val="1"/>
        <c:ser>
          <c:idx val="16"/>
          <c:order val="16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25-43B0-8DA6-8AA8891092F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25-43B0-8DA6-8AA8891092F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25-43B0-8DA6-8AA8891092F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925-43B0-8DA6-8AA8891092F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925-43B0-8DA6-8AA8891092F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14:$A$18</c:f>
              <c:strCache>
                <c:ptCount val="5"/>
                <c:pt idx="0">
                  <c:v>sport</c:v>
                </c:pt>
                <c:pt idx="1">
                  <c:v>infrastrukturális</c:v>
                </c:pt>
                <c:pt idx="2">
                  <c:v>személyügyi</c:v>
                </c:pt>
                <c:pt idx="3">
                  <c:v>jogi</c:v>
                </c:pt>
                <c:pt idx="4">
                  <c:v>pénzügyi</c:v>
                </c:pt>
              </c:strCache>
            </c:strRef>
          </c:cat>
          <c:val>
            <c:numRef>
              <c:f>Munka1!$AB$14:$AB$18</c:f>
              <c:numCache>
                <c:formatCode>General</c:formatCode>
                <c:ptCount val="5"/>
                <c:pt idx="0">
                  <c:v>10</c:v>
                </c:pt>
                <c:pt idx="1">
                  <c:v>7</c:v>
                </c:pt>
                <c:pt idx="2">
                  <c:v>6</c:v>
                </c:pt>
                <c:pt idx="3">
                  <c:v>9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925-43B0-8DA6-8AA889109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C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E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0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2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4-C925-43B0-8DA6-8AA8891092F5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Munka1!$B$14:$B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5-C925-43B0-8DA6-8AA8891092F5}"/>
                  </c:ext>
                </c:extLst>
              </c15:ser>
            </c15:filteredPieSeries>
            <c15:filteredPieSeries>
              <c15:ser>
                <c:idx val="1"/>
                <c:order val="1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7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9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B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D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F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C$14:$C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1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0-C925-43B0-8DA6-8AA8891092F5}"/>
                  </c:ext>
                </c:extLst>
              </c15:ser>
            </c15:filteredPieSeries>
            <c15:filteredPieSeries>
              <c15:ser>
                <c:idx val="2"/>
                <c:order val="2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2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4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6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8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A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D$14:$D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B-C925-43B0-8DA6-8AA8891092F5}"/>
                  </c:ext>
                </c:extLst>
              </c15:ser>
            </c15:filteredPieSeries>
            <c15:filteredPieSeries>
              <c15:ser>
                <c:idx val="3"/>
                <c:order val="3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D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F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1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3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5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E$14:$E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6-C925-43B0-8DA6-8AA8891092F5}"/>
                  </c:ext>
                </c:extLst>
              </c15:ser>
            </c15:filteredPieSeries>
            <c15:filteredPieSeries>
              <c15:ser>
                <c:idx val="4"/>
                <c:order val="4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8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A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C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E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0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F$14:$F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41-C925-43B0-8DA6-8AA8891092F5}"/>
                  </c:ext>
                </c:extLst>
              </c15:ser>
            </c15:filteredPieSeries>
            <c15:filteredPieSeries>
              <c15:ser>
                <c:idx val="5"/>
                <c:order val="5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3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5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7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9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B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G$14:$G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4C-C925-43B0-8DA6-8AA8891092F5}"/>
                  </c:ext>
                </c:extLst>
              </c15:ser>
            </c15:filteredPieSeries>
            <c15:filteredPieSeries>
              <c15:ser>
                <c:idx val="6"/>
                <c:order val="6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E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0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2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4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6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H$14:$H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1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57-C925-43B0-8DA6-8AA8891092F5}"/>
                  </c:ext>
                </c:extLst>
              </c15:ser>
            </c15:filteredPieSeries>
            <c15:filteredPieSeries>
              <c15:ser>
                <c:idx val="7"/>
                <c:order val="7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9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B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D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F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1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I$14:$I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1">
                        <c:v>1</c:v>
                      </c:pt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62-C925-43B0-8DA6-8AA8891092F5}"/>
                  </c:ext>
                </c:extLst>
              </c15:ser>
            </c15:filteredPieSeries>
            <c15:filteredPieSeries>
              <c15:ser>
                <c:idx val="8"/>
                <c:order val="8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4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6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8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A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C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J$14:$J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1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6D-C925-43B0-8DA6-8AA8891092F5}"/>
                  </c:ext>
                </c:extLst>
              </c15:ser>
            </c15:filteredPieSeries>
            <c15:filteredPieSeries>
              <c15:ser>
                <c:idx val="9"/>
                <c:order val="9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F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1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3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5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7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K$14:$K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2">
                        <c:v>1</c:v>
                      </c:pt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78-C925-43B0-8DA6-8AA8891092F5}"/>
                  </c:ext>
                </c:extLst>
              </c15:ser>
            </c15:filteredPieSeries>
            <c15:filteredPieSeries>
              <c15:ser>
                <c:idx val="10"/>
                <c:order val="10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A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C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E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0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2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L$14:$L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83-C925-43B0-8DA6-8AA8891092F5}"/>
                  </c:ext>
                </c:extLst>
              </c15:ser>
            </c15:filteredPieSeries>
            <c15:filteredPieSeries>
              <c15:ser>
                <c:idx val="11"/>
                <c:order val="11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5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7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9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B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D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M$14:$M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8E-C925-43B0-8DA6-8AA8891092F5}"/>
                  </c:ext>
                </c:extLst>
              </c15:ser>
            </c15:filteredPieSeries>
            <c15:filteredPieSeries>
              <c15:ser>
                <c:idx val="12"/>
                <c:order val="12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0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2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4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6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8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N$14:$N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2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99-C925-43B0-8DA6-8AA8891092F5}"/>
                  </c:ext>
                </c:extLst>
              </c15:ser>
            </c15:filteredPieSeries>
            <c15:filteredPieSeries>
              <c15:ser>
                <c:idx val="13"/>
                <c:order val="13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B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D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F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1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3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O$14:$O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3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A4-C925-43B0-8DA6-8AA8891092F5}"/>
                  </c:ext>
                </c:extLst>
              </c15:ser>
            </c15:filteredPieSeries>
            <c15:filteredPieSeries>
              <c15:ser>
                <c:idx val="14"/>
                <c:order val="14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6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8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A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C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E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P$14:$P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  <c:pt idx="2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AF-C925-43B0-8DA6-8AA8891092F5}"/>
                  </c:ext>
                </c:extLst>
              </c15:ser>
            </c15:filteredPieSeries>
            <c15:filteredPieSeries>
              <c15:ser>
                <c:idx val="15"/>
                <c:order val="15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1-C925-43B0-8DA6-8AA8891092F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3-C925-43B0-8DA6-8AA8891092F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5-C925-43B0-8DA6-8AA8891092F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7-C925-43B0-8DA6-8AA8891092F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9-C925-43B0-8DA6-8AA8891092F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14:$A$18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Q$14:$Q$18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BA-C925-43B0-8DA6-8AA8891092F5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baseline="0">
                <a:effectLst/>
              </a:rPr>
              <a:t>A </a:t>
            </a:r>
            <a:r>
              <a:rPr lang="hu-HU" sz="1600" b="1" i="0" baseline="0">
                <a:effectLst/>
              </a:rPr>
              <a:t>legnehezebben</a:t>
            </a:r>
            <a:r>
              <a:rPr lang="en-US" sz="1600" b="1" i="0" baseline="0">
                <a:effectLst/>
              </a:rPr>
              <a:t> teljesíthető kritérium</a:t>
            </a:r>
            <a:r>
              <a:rPr lang="hu-HU" sz="1600" b="1" i="0" baseline="0">
                <a:effectLst/>
              </a:rPr>
              <a:t>ok</a:t>
            </a:r>
            <a:endParaRPr lang="hu-HU" sz="160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ysClr val="windowText" lastClr="000000">
                    <a:lumMod val="65000"/>
                    <a:lumOff val="35000"/>
                  </a:sysClr>
                </a:solidFill>
              </a:defRPr>
            </a:pPr>
            <a:endParaRPr lang="hu-HU" sz="1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600" b="0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16"/>
          <c:order val="16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A4-472A-80A0-FBA9532445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A4-472A-80A0-FBA9532445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3A4-472A-80A0-FBA9532445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3A4-472A-80A0-FBA9532445A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3A4-472A-80A0-FBA9532445A5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3A4-472A-80A0-FBA9532445A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3A4-472A-80A0-FBA9532445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A$21:$A$25</c:f>
              <c:strCache>
                <c:ptCount val="5"/>
                <c:pt idx="0">
                  <c:v>sport</c:v>
                </c:pt>
                <c:pt idx="1">
                  <c:v>infrastrukturális</c:v>
                </c:pt>
                <c:pt idx="2">
                  <c:v>személyügyi</c:v>
                </c:pt>
                <c:pt idx="3">
                  <c:v>jogi</c:v>
                </c:pt>
                <c:pt idx="4">
                  <c:v>pénzügyi</c:v>
                </c:pt>
              </c:strCache>
            </c:strRef>
          </c:cat>
          <c:val>
            <c:numRef>
              <c:f>Munka1!$AB$21:$AB$25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2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3A4-472A-80A0-FBA9532445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C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0E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0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2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4-33A4-472A-80A0-FBA9532445A5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Munka1!$B$21:$B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3">
                        <c:v>1</c:v>
                      </c:pt>
                      <c:pt idx="4">
                        <c:v>1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5-33A4-472A-80A0-FBA9532445A5}"/>
                  </c:ext>
                </c:extLst>
              </c15:ser>
            </c15:filteredPieSeries>
            <c15:filteredPieSeries>
              <c15:ser>
                <c:idx val="1"/>
                <c:order val="1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7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9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B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D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1F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C$21:$C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0-33A4-472A-80A0-FBA9532445A5}"/>
                  </c:ext>
                </c:extLst>
              </c15:ser>
            </c15:filteredPieSeries>
            <c15:filteredPieSeries>
              <c15:ser>
                <c:idx val="2"/>
                <c:order val="2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2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4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6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8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A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D$21:$D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2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2B-33A4-472A-80A0-FBA9532445A5}"/>
                  </c:ext>
                </c:extLst>
              </c15:ser>
            </c15:filteredPieSeries>
            <c15:filteredPieSeries>
              <c15:ser>
                <c:idx val="3"/>
                <c:order val="3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D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2F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1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3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5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E$21:$E$25</c15:sqref>
                        </c15:formulaRef>
                      </c:ext>
                    </c:extLst>
                    <c:numCache>
                      <c:formatCode>General</c:formatCode>
                      <c:ptCount val="5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36-33A4-472A-80A0-FBA9532445A5}"/>
                  </c:ext>
                </c:extLst>
              </c15:ser>
            </c15:filteredPieSeries>
            <c15:filteredPieSeries>
              <c15:ser>
                <c:idx val="4"/>
                <c:order val="4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8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A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C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3E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0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F$21:$F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41-33A4-472A-80A0-FBA9532445A5}"/>
                  </c:ext>
                </c:extLst>
              </c15:ser>
            </c15:filteredPieSeries>
            <c15:filteredPieSeries>
              <c15:ser>
                <c:idx val="5"/>
                <c:order val="5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3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5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7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9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B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G$21:$G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3">
                        <c:v>1</c:v>
                      </c:pt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4C-33A4-472A-80A0-FBA9532445A5}"/>
                  </c:ext>
                </c:extLst>
              </c15:ser>
            </c15:filteredPieSeries>
            <c15:filteredPieSeries>
              <c15:ser>
                <c:idx val="6"/>
                <c:order val="6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4E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0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2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4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6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H$21:$H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57-33A4-472A-80A0-FBA9532445A5}"/>
                  </c:ext>
                </c:extLst>
              </c15:ser>
            </c15:filteredPieSeries>
            <c15:filteredPieSeries>
              <c15:ser>
                <c:idx val="7"/>
                <c:order val="7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9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B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D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5F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1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I$21:$I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62-33A4-472A-80A0-FBA9532445A5}"/>
                  </c:ext>
                </c:extLst>
              </c15:ser>
            </c15:filteredPieSeries>
            <c15:filteredPieSeries>
              <c15:ser>
                <c:idx val="8"/>
                <c:order val="8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4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6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8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A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C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J$21:$J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6D-33A4-472A-80A0-FBA9532445A5}"/>
                  </c:ext>
                </c:extLst>
              </c15:ser>
            </c15:filteredPieSeries>
            <c15:filteredPieSeries>
              <c15:ser>
                <c:idx val="9"/>
                <c:order val="9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6F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1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3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5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7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K$21:$K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78-33A4-472A-80A0-FBA9532445A5}"/>
                  </c:ext>
                </c:extLst>
              </c15:ser>
            </c15:filteredPieSeries>
            <c15:filteredPieSeries>
              <c15:ser>
                <c:idx val="10"/>
                <c:order val="10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A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C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7E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0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2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L$21:$L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83-33A4-472A-80A0-FBA9532445A5}"/>
                  </c:ext>
                </c:extLst>
              </c15:ser>
            </c15:filteredPieSeries>
            <c15:filteredPieSeries>
              <c15:ser>
                <c:idx val="11"/>
                <c:order val="11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5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7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9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B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8D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M$21:$M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2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8E-33A4-472A-80A0-FBA9532445A5}"/>
                  </c:ext>
                </c:extLst>
              </c15:ser>
            </c15:filteredPieSeries>
            <c15:filteredPieSeries>
              <c15:ser>
                <c:idx val="12"/>
                <c:order val="12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0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2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4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6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8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N$21:$N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99-33A4-472A-80A0-FBA9532445A5}"/>
                  </c:ext>
                </c:extLst>
              </c15:ser>
            </c15:filteredPieSeries>
            <c15:filteredPieSeries>
              <c15:ser>
                <c:idx val="13"/>
                <c:order val="13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B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D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9F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1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3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O$21:$O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A4-33A4-472A-80A0-FBA9532445A5}"/>
                  </c:ext>
                </c:extLst>
              </c15:ser>
            </c15:filteredPieSeries>
            <c15:filteredPieSeries>
              <c15:ser>
                <c:idx val="14"/>
                <c:order val="14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6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8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A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C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AE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P$21:$P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AF-33A4-472A-80A0-FBA9532445A5}"/>
                  </c:ext>
                </c:extLst>
              </c15:ser>
            </c15:filteredPieSeries>
            <c15:filteredPieSeries>
              <c15:ser>
                <c:idx val="15"/>
                <c:order val="15"/>
                <c:dPt>
                  <c:idx val="0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1-33A4-472A-80A0-FBA9532445A5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3-33A4-472A-80A0-FBA9532445A5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5-33A4-472A-80A0-FBA9532445A5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7-33A4-472A-80A0-FBA9532445A5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B9-33A4-472A-80A0-FBA9532445A5}"/>
                    </c:ext>
                  </c:extLst>
                </c:dPt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1:$A$25</c15:sqref>
                        </c15:formulaRef>
                      </c:ext>
                    </c:extLst>
                    <c:strCache>
                      <c:ptCount val="5"/>
                      <c:pt idx="0">
                        <c:v>sport</c:v>
                      </c:pt>
                      <c:pt idx="1">
                        <c:v>infrastrukturális</c:v>
                      </c:pt>
                      <c:pt idx="2">
                        <c:v>személyügyi</c:v>
                      </c:pt>
                      <c:pt idx="3">
                        <c:v>jogi</c:v>
                      </c:pt>
                      <c:pt idx="4">
                        <c:v>pénzügyi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Q$21:$Q$25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4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BA-33A4-472A-80A0-FBA9532445A5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16"/>
          <c:order val="16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Munka1!$A$28</c:f>
              <c:strCache>
                <c:ptCount val="1"/>
                <c:pt idx="0">
                  <c:v>Juhász László</c:v>
                </c:pt>
              </c:strCache>
              <c:extLst/>
            </c:strRef>
          </c:cat>
          <c:val>
            <c:numRef>
              <c:f>Munka1!$AB$28</c:f>
              <c:numCache>
                <c:formatCode>General</c:formatCode>
                <c:ptCount val="1"/>
                <c:pt idx="0">
                  <c:v>1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4A37-4F58-9F86-275DBF67A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4296696"/>
        <c:axId val="6042970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Munka1!$B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4A37-4F58-9F86-275DBF67ABEB}"/>
                  </c:ext>
                </c:extLst>
              </c15:ser>
            </c15:filteredBarSeries>
            <c15:filteredBarSeries>
              <c15:ser>
                <c:idx val="1"/>
                <c:order val="1"/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C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4A37-4F58-9F86-275DBF67ABEB}"/>
                  </c:ext>
                </c:extLst>
              </c15:ser>
            </c15:filteredBarSeries>
            <c15:filteredBarSeries>
              <c15:ser>
                <c:idx val="2"/>
                <c:order val="2"/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D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A37-4F58-9F86-275DBF67ABEB}"/>
                  </c:ext>
                </c:extLst>
              </c15:ser>
            </c15:filteredBarSeries>
            <c15:filteredBarSeries>
              <c15:ser>
                <c:idx val="3"/>
                <c:order val="3"/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E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A37-4F58-9F86-275DBF67ABEB}"/>
                  </c:ext>
                </c:extLst>
              </c15:ser>
            </c15:filteredBarSeries>
            <c15:filteredBarSeries>
              <c15:ser>
                <c:idx val="4"/>
                <c:order val="4"/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F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A37-4F58-9F86-275DBF67ABEB}"/>
                  </c:ext>
                </c:extLst>
              </c15:ser>
            </c15:filteredBarSeries>
            <c15:filteredBarSeries>
              <c15:ser>
                <c:idx val="5"/>
                <c:order val="5"/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G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A37-4F58-9F86-275DBF67ABEB}"/>
                  </c:ext>
                </c:extLst>
              </c15:ser>
            </c15:filteredBarSeries>
            <c15:filteredBarSeries>
              <c15:ser>
                <c:idx val="6"/>
                <c:order val="6"/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H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A37-4F58-9F86-275DBF67ABEB}"/>
                  </c:ext>
                </c:extLst>
              </c15:ser>
            </c15:filteredBarSeries>
            <c15:filteredBarSeries>
              <c15:ser>
                <c:idx val="7"/>
                <c:order val="7"/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I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4A37-4F58-9F86-275DBF67ABEB}"/>
                  </c:ext>
                </c:extLst>
              </c15:ser>
            </c15:filteredBarSeries>
            <c15:filteredBarSeries>
              <c15:ser>
                <c:idx val="8"/>
                <c:order val="8"/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J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4A37-4F58-9F86-275DBF67ABEB}"/>
                  </c:ext>
                </c:extLst>
              </c15:ser>
            </c15:filteredBarSeries>
            <c15:filteredBarSeries>
              <c15:ser>
                <c:idx val="9"/>
                <c:order val="9"/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K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4A37-4F58-9F86-275DBF67ABEB}"/>
                  </c:ext>
                </c:extLst>
              </c15:ser>
            </c15:filteredBarSeries>
            <c15:filteredBarSeries>
              <c15:ser>
                <c:idx val="10"/>
                <c:order val="10"/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L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4A37-4F58-9F86-275DBF67ABEB}"/>
                  </c:ext>
                </c:extLst>
              </c15:ser>
            </c15:filteredBarSeries>
            <c15:filteredBarSeries>
              <c15:ser>
                <c:idx val="11"/>
                <c:order val="11"/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M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4A37-4F58-9F86-275DBF67ABEB}"/>
                  </c:ext>
                </c:extLst>
              </c15:ser>
            </c15:filteredBarSeries>
            <c15:filteredBarSeries>
              <c15:ser>
                <c:idx val="12"/>
                <c:order val="12"/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N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4A37-4F58-9F86-275DBF67ABEB}"/>
                  </c:ext>
                </c:extLst>
              </c15:ser>
            </c15:filteredBarSeries>
            <c15:filteredBarSeries>
              <c15:ser>
                <c:idx val="13"/>
                <c:order val="13"/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O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4A37-4F58-9F86-275DBF67ABEB}"/>
                  </c:ext>
                </c:extLst>
              </c15:ser>
            </c15:filteredBarSeries>
            <c15:filteredBarSeries>
              <c15:ser>
                <c:idx val="14"/>
                <c:order val="14"/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P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4A37-4F58-9F86-275DBF67ABEB}"/>
                  </c:ext>
                </c:extLst>
              </c15:ser>
            </c15:filteredBarSeries>
            <c15:filteredBarSeries>
              <c15:ser>
                <c:idx val="15"/>
                <c:order val="15"/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A$28</c15:sqref>
                        </c15:formulaRef>
                      </c:ext>
                    </c:extLst>
                    <c:strCache>
                      <c:ptCount val="1"/>
                      <c:pt idx="0">
                        <c:v>Juhász László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Munka1!$Q$28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4A37-4F58-9F86-275DBF67ABEB}"/>
                  </c:ext>
                </c:extLst>
              </c15:ser>
            </c15:filteredBarSeries>
          </c:ext>
        </c:extLst>
      </c:barChart>
      <c:catAx>
        <c:axId val="604296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4297016"/>
        <c:crosses val="autoZero"/>
        <c:auto val="1"/>
        <c:lblAlgn val="ctr"/>
        <c:lblOffset val="100"/>
        <c:noMultiLvlLbl val="0"/>
      </c:catAx>
      <c:valAx>
        <c:axId val="604297016"/>
        <c:scaling>
          <c:orientation val="minMax"/>
          <c:max val="5"/>
          <c:min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4296696"/>
        <c:crosses val="autoZero"/>
        <c:crossBetween val="between"/>
        <c:majorUnit val="1"/>
        <c:min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ADAAF8C-8A85-4230-9EFD-136927B975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C927F85C-3AB8-4230-BA14-213C037E1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8888365C-F1CD-4693-A579-DD55FC886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A296E78-38FA-4492-B117-63C68C7F2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2428E2C-9011-47EC-B6A7-A23091522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32165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121B2D4-6D10-4D9A-9F3C-E70038620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5C9F0EB8-26E9-44A1-9E73-CD163F6D5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5BF1D6C7-EDE8-40CA-B76E-37CB3FA076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41DC7BE-7813-403F-BE03-6A4C48C8E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7C348041-3A65-48EC-8C7F-BE6BB3F4B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70570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3DB8E064-841F-483D-ACEB-21084D5F11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C2C56AB8-B372-40DC-A5EE-B7550FF21A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B2F6966-EAD9-4D96-8FA3-05BC0BE9F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CCABA02-5497-423E-ABDA-4BDE176AA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B99CF81-861A-4234-9A7A-100FFC5C5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72890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7" y="3457575"/>
            <a:ext cx="7391400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83050" y="4354514"/>
            <a:ext cx="7389283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702" y="834117"/>
            <a:ext cx="4896757" cy="367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481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552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155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9710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14H00249 grayscal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6533" y="1147764"/>
            <a:ext cx="10955867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220133" y="5765800"/>
            <a:ext cx="11362267" cy="876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800"/>
          </a:p>
        </p:txBody>
      </p:sp>
      <p:sp>
        <p:nvSpPr>
          <p:cNvPr id="5" name="AutoShape 7"/>
          <p:cNvSpPr>
            <a:spLocks noChangeArrowheads="1"/>
          </p:cNvSpPr>
          <p:nvPr/>
        </p:nvSpPr>
        <p:spPr bwMode="auto">
          <a:xfrm flipH="1">
            <a:off x="10312400" y="1147764"/>
            <a:ext cx="1270000" cy="5030787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0093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BF6888D-702F-47CD-BA9E-70ED7BE5A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1726D843-194D-41F1-BDAE-1BD15E443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82AA8B70-085C-46A6-AFA4-54CA4450F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E1DAB62C-9F75-4923-8A4B-6F4FA663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37DF1475-34D6-4142-AD62-A6938B662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27713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F9804C-251A-4144-A068-DB93E91C6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903AAF0-0343-4B09-BF71-C99E36E8BB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EFC37F1F-E9EA-47F7-A886-DA778D32F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A9C2A2EE-98BB-451E-BCAB-8E0F49D33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4037C3BF-1E43-4F1B-A5DD-EF28D3C4A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31405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D538788-1D57-46F5-89A7-70B8AE1B8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5860292-BF68-4B7E-BD72-C26B80ABA9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9806F9CB-2AE5-41A8-9256-9F5CF6733B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D6D7B9F4-E239-46B1-879E-17653634A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0B7483C-A614-4C70-AECD-97BD8DEB7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3071419E-1E3D-464E-9173-C28192047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89724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660DD26-A7FB-4586-80A9-E12ACCE30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9455BC86-1CAC-4CEE-BA7B-7DA0684B34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E072949C-A0DB-4E8E-ABBA-2878F59794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7A3724FC-59FD-4770-AA35-7B8AAFF9B2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22196DF4-39A3-4EE3-8B91-67F5589EE7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FF1C147F-3FE9-46B1-9EAE-395FA6A7E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B92B745B-2A06-4A7A-81C9-2D9D6B3EF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D9C2F90C-0D88-4407-9876-ACCA9BA07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46973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D3BDD5D-A9CC-4829-A874-20E8D5D7A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88DB5E5-8A33-42AA-B11C-79B64399D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1909F21D-D2F6-45FE-8337-489A59E8C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65C8235A-5F95-4C56-AFAD-34EC8379A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21411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ACF3687F-2FF9-46AC-8451-28743DEE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05DF37F9-B8EC-4CF5-9FE1-9A9E0A3AC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3564986-36E8-4D03-8986-56B530F9E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84039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578B78F-DECA-4A2E-8404-CE7BDC304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BFC31060-3367-44A0-9FB0-497A3B64E8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061A1E3E-0A49-4287-9DA1-63F24A0908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8B77EDE1-38C0-41C8-85E4-EF13C2DE8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49A67704-8F71-45D7-980A-8FF3C29074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71424D5D-9D02-4717-9E1F-C61C04D00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24475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BACF49E-75E5-4B28-9EE9-6DFE7E945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0232251B-5B5C-43F3-9940-0F6D81A7B1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E2AEBDB3-99B1-498D-B8C2-92E0A67048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FC6100F9-0C97-429C-B21B-FE7104B022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029C6817-D482-4147-BCE4-211A4F8043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392B15DC-8970-45D7-8C08-CCDCE579F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42022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D39ADAE-C5ED-158D-17D7-5734922F9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016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FD548D60-75F2-42DE-A81A-A665E971B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40B5C8BE-4F0C-4128-9036-C55E66CD1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59412C3-5155-46D2-968B-208DF6899B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9EDBFD-ACC0-4373-9EAC-4A6A10F5F04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A180456-7682-4EC0-A447-10E660105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0E70845-B60B-4B16-A05E-08BC6D0CC9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8D7973-6916-4A56-A511-AEF31056540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04886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AD9E690-D3B0-BAD0-F24E-B5AF98C5E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2277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1" y="457200"/>
            <a:ext cx="10979151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484" y="1500188"/>
            <a:ext cx="10981267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5525" name="Rectangle 5"/>
          <p:cNvSpPr>
            <a:spLocks noChangeArrowheads="1"/>
          </p:cNvSpPr>
          <p:nvPr/>
        </p:nvSpPr>
        <p:spPr bwMode="auto">
          <a:xfrm>
            <a:off x="4341283" y="5948363"/>
            <a:ext cx="4176184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áttekintés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6" name="Rectangle 6"/>
          <p:cNvSpPr>
            <a:spLocks noChangeArrowheads="1"/>
          </p:cNvSpPr>
          <p:nvPr/>
        </p:nvSpPr>
        <p:spPr bwMode="auto">
          <a:xfrm>
            <a:off x="2582334" y="5948363"/>
            <a:ext cx="884767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7" name="Line 7"/>
          <p:cNvSpPr>
            <a:spLocks noChangeShapeType="1"/>
          </p:cNvSpPr>
          <p:nvPr/>
        </p:nvSpPr>
        <p:spPr bwMode="auto">
          <a:xfrm>
            <a:off x="607484" y="1295400"/>
            <a:ext cx="10972800" cy="0"/>
          </a:xfrm>
          <a:prstGeom prst="line">
            <a:avLst/>
          </a:prstGeom>
          <a:noFill/>
          <a:ln w="12700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800"/>
          </a:p>
        </p:txBody>
      </p:sp>
      <p:sp>
        <p:nvSpPr>
          <p:cNvPr id="1515528" name="Line 8"/>
          <p:cNvSpPr>
            <a:spLocks noChangeShapeType="1"/>
          </p:cNvSpPr>
          <p:nvPr/>
        </p:nvSpPr>
        <p:spPr bwMode="auto">
          <a:xfrm>
            <a:off x="607484" y="5772150"/>
            <a:ext cx="109728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800"/>
          </a:p>
        </p:txBody>
      </p:sp>
      <p:sp>
        <p:nvSpPr>
          <p:cNvPr id="1515529" name="Line 9"/>
          <p:cNvSpPr>
            <a:spLocks noChangeShapeType="1"/>
          </p:cNvSpPr>
          <p:nvPr/>
        </p:nvSpPr>
        <p:spPr bwMode="auto">
          <a:xfrm>
            <a:off x="607484" y="457200"/>
            <a:ext cx="109728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800"/>
          </a:p>
        </p:txBody>
      </p:sp>
      <p:pic>
        <p:nvPicPr>
          <p:cNvPr id="4098" name="Picture 2" descr="C:\Users\remenyi_gergely\Desktop\MLSZ logo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1601" y="5927637"/>
            <a:ext cx="882532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556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chart" Target="../charts/chart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B8DC2E-DEF6-85F6-7B69-E41AC762AC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27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C1E75F9E-CC94-4D21-8ED4-CF204162AC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hu-HU" dirty="0"/>
              <a:t>Klublicenc Alapeljárás 2024/25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9939BAE5-37C2-4C4E-BDC7-E2B5C9C5E3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dirty="0"/>
              <a:t>A sportszervezetek (klubok) visszajelzései</a:t>
            </a:r>
          </a:p>
        </p:txBody>
      </p:sp>
    </p:spTree>
    <p:extLst>
      <p:ext uri="{BB962C8B-B14F-4D97-AF65-F5344CB8AC3E}">
        <p14:creationId xmlns:p14="http://schemas.microsoft.com/office/powerpoint/2010/main" val="28931891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AC29D7E-9876-4296-B050-65F50603C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Alapinformáció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49E08E40-6E06-4F42-8699-3DD38FDFD0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hu-HU" dirty="0"/>
              <a:t>A 2024/25. évi Klublicenc Alapeljárás eredményeként 13 sportszervezet UEFA/NB I-es, 7 sportszervezet NB I-es, 20 sportszervezet NB II-es, 4 sportszervezet pedig UEFA női licencet kapott.</a:t>
            </a:r>
          </a:p>
          <a:p>
            <a:pPr algn="just"/>
            <a:r>
              <a:rPr lang="hu-HU" dirty="0"/>
              <a:t>Az eljárást követően az MLSZ kérdőívét 20 sportszervezet juttatta vissza a Klublicenc Adminisztrációhoz.</a:t>
            </a:r>
          </a:p>
          <a:p>
            <a:pPr algn="just"/>
            <a:r>
              <a:rPr lang="hu-HU" dirty="0"/>
              <a:t>A kérdőív során az eljárással, illetve az adminisztráció munkájával kapcsolatos kérdéseket a válaszadók egytől ötig terjedő Likert-skálán értékelhették, valamint külön jelölhették a legkönnyebben, illetve legnehezebben teljesíthető kritérium-csoportot. </a:t>
            </a:r>
          </a:p>
          <a:p>
            <a:endParaRPr lang="hu-HU" dirty="0"/>
          </a:p>
        </p:txBody>
      </p:sp>
      <p:pic>
        <p:nvPicPr>
          <p:cNvPr id="4" name="Picture 2" descr="C:\Users\remenyi_gergely\Desktop\MLSZ logo.jpg">
            <a:extLst>
              <a:ext uri="{FF2B5EF4-FFF2-40B4-BE49-F238E27FC236}">
                <a16:creationId xmlns:a16="http://schemas.microsoft.com/office/drawing/2014/main" id="{91803AEC-A92C-49C2-9B7A-1567FA7773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0" y="5746706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40F0134F-383C-4F5B-905E-B2FB16144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718" y="5966195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</a:t>
            </a:r>
            <a:r>
              <a:rPr lang="hu-HU" sz="1100" dirty="0">
                <a:solidFill>
                  <a:srgbClr val="000000"/>
                </a:solidFill>
                <a:cs typeface="Arial" charset="0"/>
              </a:rPr>
              <a:t>értékelés</a:t>
            </a: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60CE23-5D44-4F33-8028-8D2C89477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2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887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9332567-59BC-4446-8F8F-C8FBF6B68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/>
              <a:t>A Likert skálán értékelhető kérdése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8B18F79-D7FD-44A3-99D3-05E481D5B0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algn="just"/>
            <a:r>
              <a:rPr lang="hu-HU" sz="2400" dirty="0"/>
              <a:t>2. Ön mennyire elégedett a most lezárult </a:t>
            </a:r>
            <a:r>
              <a:rPr lang="hu-HU" sz="2400" dirty="0" err="1"/>
              <a:t>klublicenc</a:t>
            </a:r>
            <a:r>
              <a:rPr lang="hu-HU" sz="2400" dirty="0"/>
              <a:t> alapeljárás során a Klublicenc Adminisztrációtól kapott segítséggel?</a:t>
            </a:r>
          </a:p>
          <a:p>
            <a:pPr algn="just"/>
            <a:r>
              <a:rPr lang="hu-HU" sz="2400" dirty="0"/>
              <a:t>3. Ön mennyire elégedett a Klublicenc Adminisztráció és a klubok közötti információáramlás minőségével az idei alapeljárás során?</a:t>
            </a:r>
          </a:p>
          <a:p>
            <a:pPr algn="just"/>
            <a:r>
              <a:rPr lang="hu-HU" sz="2400" dirty="0"/>
              <a:t>4. Ön szerint megfelelő gyorsasággal tájékoztatta a klubot az őt érintő ügyekről (pl. határozatok) a Klublicenc Adminisztráció az idei alapeljárás során?</a:t>
            </a:r>
          </a:p>
          <a:p>
            <a:pPr algn="just"/>
            <a:r>
              <a:rPr lang="hu-HU" sz="2400" dirty="0"/>
              <a:t>5. Mennyire voltak követhetőek az Ön számára az alapeljárás lépései az idei alapeljárás során?</a:t>
            </a:r>
          </a:p>
          <a:p>
            <a:pPr algn="just"/>
            <a:r>
              <a:rPr lang="hu-HU" sz="2400" dirty="0"/>
              <a:t>6. Ön szerint mennyire voltak </a:t>
            </a:r>
            <a:r>
              <a:rPr lang="hu-HU" sz="2400" dirty="0" err="1"/>
              <a:t>betarthatóak</a:t>
            </a:r>
            <a:r>
              <a:rPr lang="hu-HU" sz="2400" dirty="0"/>
              <a:t> az idei </a:t>
            </a:r>
            <a:r>
              <a:rPr lang="hu-HU" sz="2400" dirty="0" err="1"/>
              <a:t>klublicenc</a:t>
            </a:r>
            <a:r>
              <a:rPr lang="hu-HU" sz="2400" dirty="0"/>
              <a:t> alapeljárásban meghatározott határidők?</a:t>
            </a:r>
          </a:p>
          <a:p>
            <a:pPr algn="just"/>
            <a:r>
              <a:rPr lang="hu-HU" sz="2400" dirty="0"/>
              <a:t>7. Ön szerint megfelelő mértékben informálta a Klublicenc Adminisztráció a klubot az alapeljárás egyes lépéseiről, valamint a klub teendőiről?</a:t>
            </a:r>
          </a:p>
          <a:p>
            <a:pPr algn="just"/>
            <a:r>
              <a:rPr lang="hu-HU" sz="2400" dirty="0"/>
              <a:t>8. Mennyire volt elégedett a Klublicenc Adminisztráció válaszadási sebességével az Önök által feltett kérdésekre az idei alapeljárás során?</a:t>
            </a:r>
          </a:p>
          <a:p>
            <a:pPr algn="just"/>
            <a:r>
              <a:rPr lang="hu-HU" sz="2400" dirty="0"/>
              <a:t>9. Ön szerint mennyire voltak megfelelőek </a:t>
            </a:r>
            <a:r>
              <a:rPr lang="hu-HU" sz="2400" dirty="0" err="1"/>
              <a:t>tartalmilag</a:t>
            </a:r>
            <a:r>
              <a:rPr lang="hu-HU" sz="2400" dirty="0"/>
              <a:t> a Klublicenc Adminisztráció küldeményei az idei </a:t>
            </a:r>
            <a:r>
              <a:rPr lang="hu-HU" sz="2400" dirty="0" err="1"/>
              <a:t>klublicenc</a:t>
            </a:r>
            <a:r>
              <a:rPr lang="hu-HU" sz="2400" dirty="0"/>
              <a:t> alapeljárás során?</a:t>
            </a:r>
          </a:p>
          <a:p>
            <a:pPr algn="just"/>
            <a:r>
              <a:rPr lang="hu-HU" sz="2400" dirty="0"/>
              <a:t>12. Ön szerint mennyire segítették a Klublicenc Adminisztráció által összeállított sablonok a klub munkáját az idei alapeljárás során?</a:t>
            </a:r>
          </a:p>
          <a:p>
            <a:endParaRPr lang="hu-HU" dirty="0"/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C941BAEF-768A-41D6-AB4E-593463E6B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3587" y="6311900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3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3F7E6E3-DF21-4465-B9EC-BF5471E664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718" y="6356202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</a:t>
            </a:r>
            <a:r>
              <a:rPr lang="hu-HU" sz="1100" dirty="0">
                <a:solidFill>
                  <a:srgbClr val="000000"/>
                </a:solidFill>
                <a:cs typeface="Arial" charset="0"/>
              </a:rPr>
              <a:t>értékelés</a:t>
            </a: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2" descr="C:\Users\remenyi_gergely\Desktop\MLSZ logo.jpg">
            <a:extLst>
              <a:ext uri="{FF2B5EF4-FFF2-40B4-BE49-F238E27FC236}">
                <a16:creationId xmlns:a16="http://schemas.microsoft.com/office/drawing/2014/main" id="{FF97EC94-6A53-460F-B0D1-6C904749C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8413" y="5964193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0815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8103893-0011-4419-AF07-1B059E763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dirty="0"/>
              <a:t>A Likert-skálán értékelhető kérdésekre adott válaszok átlagos értékei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136E3BF-74AF-4EBE-B65E-DF7F4492F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4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502CDB3-DF83-4469-9677-95CD8DF5E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718" y="6024165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</a:t>
            </a:r>
            <a:r>
              <a:rPr lang="hu-HU" sz="1100" dirty="0">
                <a:solidFill>
                  <a:srgbClr val="000000"/>
                </a:solidFill>
                <a:cs typeface="Arial" charset="0"/>
              </a:rPr>
              <a:t>értékelés</a:t>
            </a: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2" descr="C:\Users\remenyi_gergely\Desktop\MLSZ logo.jpg">
            <a:extLst>
              <a:ext uri="{FF2B5EF4-FFF2-40B4-BE49-F238E27FC236}">
                <a16:creationId xmlns:a16="http://schemas.microsoft.com/office/drawing/2014/main" id="{D3CED21B-E238-4E64-855A-408003F25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0" y="5889183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Diagram 3">
            <a:extLst>
              <a:ext uri="{FF2B5EF4-FFF2-40B4-BE49-F238E27FC236}">
                <a16:creationId xmlns:a16="http://schemas.microsoft.com/office/drawing/2014/main" id="{EAA0AEF8-DD7A-43EB-9D5D-FA7AC955876B}"/>
              </a:ext>
            </a:extLst>
          </p:cNvPr>
          <p:cNvGraphicFramePr>
            <a:graphicFrameLocks/>
          </p:cNvGraphicFramePr>
          <p:nvPr/>
        </p:nvGraphicFramePr>
        <p:xfrm>
          <a:off x="2938462" y="1857851"/>
          <a:ext cx="6315076" cy="3142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70203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F21B682-DAE9-4E7C-9D4D-D434F1D85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dirty="0"/>
              <a:t>A legkönnyebben és legnehezebben teljesíthető kritérium-csoportok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A284815-8E39-40A2-A6AA-1197A2F6B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6750" y="598011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5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46F4AFD0-A628-45B2-9262-B44D847D3B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718" y="5980113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</a:t>
            </a:r>
            <a:r>
              <a:rPr lang="hu-HU" sz="1100" dirty="0">
                <a:solidFill>
                  <a:srgbClr val="000000"/>
                </a:solidFill>
                <a:cs typeface="Arial" charset="0"/>
              </a:rPr>
              <a:t>értékelés</a:t>
            </a: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2" descr="C:\Users\remenyi_gergely\Desktop\MLSZ logo.jpg">
            <a:extLst>
              <a:ext uri="{FF2B5EF4-FFF2-40B4-BE49-F238E27FC236}">
                <a16:creationId xmlns:a16="http://schemas.microsoft.com/office/drawing/2014/main" id="{9785A95D-3A41-40E6-83A6-A936ADD30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0" y="5845131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Diagram 5">
            <a:extLst>
              <a:ext uri="{FF2B5EF4-FFF2-40B4-BE49-F238E27FC236}">
                <a16:creationId xmlns:a16="http://schemas.microsoft.com/office/drawing/2014/main" id="{D96AC1B0-9509-47D7-924D-E79C96083D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0814815"/>
              </p:ext>
            </p:extLst>
          </p:nvPr>
        </p:nvGraphicFramePr>
        <p:xfrm>
          <a:off x="909724" y="2027208"/>
          <a:ext cx="540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 6">
            <a:extLst>
              <a:ext uri="{FF2B5EF4-FFF2-40B4-BE49-F238E27FC236}">
                <a16:creationId xmlns:a16="http://schemas.microsoft.com/office/drawing/2014/main" id="{53E716EC-B344-472F-A363-3C35150179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7713831"/>
              </p:ext>
            </p:extLst>
          </p:nvPr>
        </p:nvGraphicFramePr>
        <p:xfrm>
          <a:off x="5564099" y="2027207"/>
          <a:ext cx="540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55696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542A26-5DAA-4222-5965-D063306EBA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1CAAC8DF-95A6-4BAB-ADED-875ABC42E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0728" y="365125"/>
            <a:ext cx="9841302" cy="1325563"/>
          </a:xfrm>
        </p:spPr>
        <p:txBody>
          <a:bodyPr vert="horz">
            <a:normAutofit/>
          </a:bodyPr>
          <a:lstStyle/>
          <a:p>
            <a:pPr algn="ctr"/>
            <a:r>
              <a:rPr lang="hu-HU" dirty="0"/>
              <a:t>Az adminisztráció munkájának értékelése 1-5-ig skálán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79B5C102-E935-42C6-AB58-55AE52A23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6750" y="6064430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6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C05555-B2C3-4D96-9848-A2460170C9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1718" y="6064430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Klublicenc alapeljárás </a:t>
            </a:r>
            <a:r>
              <a:rPr lang="hu-HU" sz="1100" dirty="0">
                <a:solidFill>
                  <a:srgbClr val="000000"/>
                </a:solidFill>
                <a:cs typeface="Arial" charset="0"/>
              </a:rPr>
              <a:t>értékelés</a:t>
            </a: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e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2" descr="C:\Users\remenyi_gergely\Desktop\MLSZ logo.jpg">
            <a:extLst>
              <a:ext uri="{FF2B5EF4-FFF2-40B4-BE49-F238E27FC236}">
                <a16:creationId xmlns:a16="http://schemas.microsoft.com/office/drawing/2014/main" id="{E2FB5FEC-C34C-409E-BCEF-950766F0D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0" y="6002265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Diagram 7">
            <a:extLst>
              <a:ext uri="{FF2B5EF4-FFF2-40B4-BE49-F238E27FC236}">
                <a16:creationId xmlns:a16="http://schemas.microsoft.com/office/drawing/2014/main" id="{46F5702E-B308-4FE7-8151-BF642C04A1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1839453"/>
              </p:ext>
            </p:extLst>
          </p:nvPr>
        </p:nvGraphicFramePr>
        <p:xfrm>
          <a:off x="4023689" y="2113914"/>
          <a:ext cx="4144621" cy="2906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9296771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Y_Hand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</TotalTime>
  <Words>331</Words>
  <Application>Microsoft Office PowerPoint</Application>
  <PresentationFormat>Widescreen</PresentationFormat>
  <Paragraphs>33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Office-téma</vt:lpstr>
      <vt:lpstr>1_EY_Handout</vt:lpstr>
      <vt:lpstr>think-cell Slide</vt:lpstr>
      <vt:lpstr>Klublicenc Alapeljárás 2024/25</vt:lpstr>
      <vt:lpstr>Alapinformációk</vt:lpstr>
      <vt:lpstr>A Likert skálán értékelhető kérdések</vt:lpstr>
      <vt:lpstr>A Likert-skálán értékelhető kérdésekre adott válaszok átlagos értékei</vt:lpstr>
      <vt:lpstr>A legkönnyebben és legnehezebben teljesíthető kritérium-csoportok</vt:lpstr>
      <vt:lpstr>Az adminisztráció munkájának értékelése 1-5-ig skálá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ublicenc Alapeljárás értékelés</dc:title>
  <dc:creator>Juhász Gábor</dc:creator>
  <cp:lastModifiedBy>Juhász László</cp:lastModifiedBy>
  <cp:revision>20</cp:revision>
  <dcterms:created xsi:type="dcterms:W3CDTF">2018-08-31T07:28:35Z</dcterms:created>
  <dcterms:modified xsi:type="dcterms:W3CDTF">2024-08-05T08:54:56Z</dcterms:modified>
</cp:coreProperties>
</file>